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7BD8A-FA38-36F0-CA71-B910FDFEA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think-cell data - do not delete" hidden="1">
            <a:extLst>
              <a:ext uri="{FF2B5EF4-FFF2-40B4-BE49-F238E27FC236}">
                <a16:creationId xmlns:a16="http://schemas.microsoft.com/office/drawing/2014/main" id="{451B5D02-6A24-AD4C-A70F-5A92171FA0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B5D02-6A24-AD4C-A70F-5A92171FA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9A39B1-D272-9CE4-1C76-F10EB660A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2C9AE-7A87-93F5-30DB-71C40FCE4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91EF94D-A540-D20F-6B66-237852FE738C}"/>
              </a:ext>
            </a:extLst>
          </p:cNvPr>
          <p:cNvGrpSpPr/>
          <p:nvPr/>
        </p:nvGrpSpPr>
        <p:grpSpPr>
          <a:xfrm>
            <a:off x="3917818" y="1590822"/>
            <a:ext cx="4187259" cy="4187259"/>
            <a:chOff x="3001778" y="1230630"/>
            <a:chExt cx="3140444" cy="31404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6A897E0-0855-28B1-71F0-7739A32D841F}"/>
                </a:ext>
              </a:extLst>
            </p:cNvPr>
            <p:cNvGrpSpPr/>
            <p:nvPr/>
          </p:nvGrpSpPr>
          <p:grpSpPr>
            <a:xfrm>
              <a:off x="3001778" y="1230630"/>
              <a:ext cx="3140444" cy="3140444"/>
              <a:chOff x="17496931" y="2026624"/>
              <a:chExt cx="4187258" cy="4187258"/>
            </a:xfrm>
          </p:grpSpPr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E7811304-D484-D058-0475-17D2179B3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9236" y="2026624"/>
                <a:ext cx="1739923" cy="1027542"/>
              </a:xfrm>
              <a:custGeom>
                <a:avLst/>
                <a:gdLst>
                  <a:gd name="T0" fmla="*/ 623 w 811"/>
                  <a:gd name="T1" fmla="*/ 479 h 479"/>
                  <a:gd name="T2" fmla="*/ 811 w 811"/>
                  <a:gd name="T3" fmla="*/ 89 h 479"/>
                  <a:gd name="T4" fmla="*/ 406 w 811"/>
                  <a:gd name="T5" fmla="*/ 0 h 479"/>
                  <a:gd name="T6" fmla="*/ 0 w 811"/>
                  <a:gd name="T7" fmla="*/ 89 h 479"/>
                  <a:gd name="T8" fmla="*/ 189 w 811"/>
                  <a:gd name="T9" fmla="*/ 479 h 479"/>
                  <a:gd name="T10" fmla="*/ 406 w 811"/>
                  <a:gd name="T11" fmla="*/ 434 h 479"/>
                  <a:gd name="T12" fmla="*/ 623 w 811"/>
                  <a:gd name="T13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1" h="479">
                    <a:moveTo>
                      <a:pt x="623" y="479"/>
                    </a:moveTo>
                    <a:cubicBezTo>
                      <a:pt x="811" y="89"/>
                      <a:pt x="811" y="89"/>
                      <a:pt x="811" y="89"/>
                    </a:cubicBezTo>
                    <a:cubicBezTo>
                      <a:pt x="688" y="32"/>
                      <a:pt x="550" y="0"/>
                      <a:pt x="406" y="0"/>
                    </a:cubicBezTo>
                    <a:cubicBezTo>
                      <a:pt x="261" y="0"/>
                      <a:pt x="124" y="32"/>
                      <a:pt x="0" y="89"/>
                    </a:cubicBezTo>
                    <a:cubicBezTo>
                      <a:pt x="0" y="89"/>
                      <a:pt x="83" y="261"/>
                      <a:pt x="189" y="479"/>
                    </a:cubicBezTo>
                    <a:cubicBezTo>
                      <a:pt x="255" y="450"/>
                      <a:pt x="329" y="434"/>
                      <a:pt x="406" y="434"/>
                    </a:cubicBezTo>
                    <a:cubicBezTo>
                      <a:pt x="483" y="434"/>
                      <a:pt x="557" y="450"/>
                      <a:pt x="623" y="4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D6BF0590-30BF-88E4-E23B-7C85DACAF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0949" y="4879800"/>
                <a:ext cx="1566476" cy="1334082"/>
              </a:xfrm>
              <a:custGeom>
                <a:avLst/>
                <a:gdLst>
                  <a:gd name="T0" fmla="*/ 339 w 730"/>
                  <a:gd name="T1" fmla="*/ 0 h 622"/>
                  <a:gd name="T2" fmla="*/ 0 w 730"/>
                  <a:gd name="T3" fmla="*/ 270 h 622"/>
                  <a:gd name="T4" fmla="*/ 730 w 730"/>
                  <a:gd name="T5" fmla="*/ 622 h 622"/>
                  <a:gd name="T6" fmla="*/ 730 w 730"/>
                  <a:gd name="T7" fmla="*/ 188 h 622"/>
                  <a:gd name="T8" fmla="*/ 339 w 730"/>
                  <a:gd name="T9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339" y="0"/>
                    </a:moveTo>
                    <a:cubicBezTo>
                      <a:pt x="0" y="270"/>
                      <a:pt x="0" y="270"/>
                      <a:pt x="0" y="270"/>
                    </a:cubicBezTo>
                    <a:cubicBezTo>
                      <a:pt x="175" y="480"/>
                      <a:pt x="437" y="616"/>
                      <a:pt x="730" y="622"/>
                    </a:cubicBezTo>
                    <a:cubicBezTo>
                      <a:pt x="730" y="622"/>
                      <a:pt x="730" y="430"/>
                      <a:pt x="730" y="188"/>
                    </a:cubicBezTo>
                    <a:cubicBezTo>
                      <a:pt x="574" y="182"/>
                      <a:pt x="434" y="110"/>
                      <a:pt x="33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96E06002-1CF4-FC7A-8A2A-834552950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8682" y="2254262"/>
                <a:ext cx="1489287" cy="1565347"/>
              </a:xfrm>
              <a:custGeom>
                <a:avLst/>
                <a:gdLst>
                  <a:gd name="T0" fmla="*/ 694 w 694"/>
                  <a:gd name="T1" fmla="*/ 391 h 730"/>
                  <a:gd name="T2" fmla="*/ 505 w 694"/>
                  <a:gd name="T3" fmla="*/ 0 h 730"/>
                  <a:gd name="T4" fmla="*/ 0 w 694"/>
                  <a:gd name="T5" fmla="*/ 634 h 730"/>
                  <a:gd name="T6" fmla="*/ 423 w 694"/>
                  <a:gd name="T7" fmla="*/ 730 h 730"/>
                  <a:gd name="T8" fmla="*/ 694 w 694"/>
                  <a:gd name="T9" fmla="*/ 391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694" y="391"/>
                    </a:moveTo>
                    <a:cubicBezTo>
                      <a:pt x="505" y="0"/>
                      <a:pt x="505" y="0"/>
                      <a:pt x="505" y="0"/>
                    </a:cubicBezTo>
                    <a:cubicBezTo>
                      <a:pt x="257" y="127"/>
                      <a:pt x="69" y="357"/>
                      <a:pt x="0" y="634"/>
                    </a:cubicBezTo>
                    <a:cubicBezTo>
                      <a:pt x="0" y="634"/>
                      <a:pt x="187" y="676"/>
                      <a:pt x="423" y="730"/>
                    </a:cubicBezTo>
                    <a:cubicBezTo>
                      <a:pt x="462" y="583"/>
                      <a:pt x="562" y="460"/>
                      <a:pt x="694" y="39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FB489434-F633-C24E-C702-EA6A7DFD2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33151" y="2254262"/>
                <a:ext cx="1489287" cy="1565347"/>
              </a:xfrm>
              <a:custGeom>
                <a:avLst/>
                <a:gdLst>
                  <a:gd name="T0" fmla="*/ 271 w 694"/>
                  <a:gd name="T1" fmla="*/ 730 h 730"/>
                  <a:gd name="T2" fmla="*/ 694 w 694"/>
                  <a:gd name="T3" fmla="*/ 634 h 730"/>
                  <a:gd name="T4" fmla="*/ 188 w 694"/>
                  <a:gd name="T5" fmla="*/ 0 h 730"/>
                  <a:gd name="T6" fmla="*/ 0 w 694"/>
                  <a:gd name="T7" fmla="*/ 391 h 730"/>
                  <a:gd name="T8" fmla="*/ 271 w 694"/>
                  <a:gd name="T9" fmla="*/ 730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271" y="730"/>
                    </a:moveTo>
                    <a:cubicBezTo>
                      <a:pt x="694" y="634"/>
                      <a:pt x="694" y="634"/>
                      <a:pt x="694" y="634"/>
                    </a:cubicBezTo>
                    <a:cubicBezTo>
                      <a:pt x="624" y="357"/>
                      <a:pt x="437" y="127"/>
                      <a:pt x="188" y="0"/>
                    </a:cubicBezTo>
                    <a:cubicBezTo>
                      <a:pt x="188" y="0"/>
                      <a:pt x="105" y="172"/>
                      <a:pt x="0" y="391"/>
                    </a:cubicBezTo>
                    <a:cubicBezTo>
                      <a:pt x="132" y="460"/>
                      <a:pt x="232" y="583"/>
                      <a:pt x="271" y="7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5371E1A7-69CC-5690-1469-E2AE1E43F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5451" y="3697174"/>
                <a:ext cx="1158738" cy="1695037"/>
              </a:xfrm>
              <a:custGeom>
                <a:avLst/>
                <a:gdLst>
                  <a:gd name="T0" fmla="*/ 0 w 540"/>
                  <a:gd name="T1" fmla="*/ 519 h 790"/>
                  <a:gd name="T2" fmla="*/ 339 w 540"/>
                  <a:gd name="T3" fmla="*/ 790 h 790"/>
                  <a:gd name="T4" fmla="*/ 540 w 540"/>
                  <a:gd name="T5" fmla="*/ 197 h 790"/>
                  <a:gd name="T6" fmla="*/ 519 w 540"/>
                  <a:gd name="T7" fmla="*/ 0 h 790"/>
                  <a:gd name="T8" fmla="*/ 97 w 540"/>
                  <a:gd name="T9" fmla="*/ 96 h 790"/>
                  <a:gd name="T10" fmla="*/ 106 w 540"/>
                  <a:gd name="T11" fmla="*/ 197 h 790"/>
                  <a:gd name="T12" fmla="*/ 0 w 540"/>
                  <a:gd name="T13" fmla="*/ 519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0" y="519"/>
                    </a:moveTo>
                    <a:cubicBezTo>
                      <a:pt x="339" y="790"/>
                      <a:pt x="339" y="790"/>
                      <a:pt x="339" y="790"/>
                    </a:cubicBezTo>
                    <a:cubicBezTo>
                      <a:pt x="465" y="625"/>
                      <a:pt x="540" y="420"/>
                      <a:pt x="540" y="197"/>
                    </a:cubicBezTo>
                    <a:cubicBezTo>
                      <a:pt x="540" y="129"/>
                      <a:pt x="533" y="63"/>
                      <a:pt x="519" y="0"/>
                    </a:cubicBezTo>
                    <a:cubicBezTo>
                      <a:pt x="519" y="0"/>
                      <a:pt x="333" y="42"/>
                      <a:pt x="97" y="96"/>
                    </a:cubicBezTo>
                    <a:cubicBezTo>
                      <a:pt x="103" y="129"/>
                      <a:pt x="106" y="163"/>
                      <a:pt x="106" y="197"/>
                    </a:cubicBezTo>
                    <a:cubicBezTo>
                      <a:pt x="106" y="318"/>
                      <a:pt x="67" y="429"/>
                      <a:pt x="0" y="51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CA8A5245-D575-3453-0704-9B10217CF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879800"/>
                <a:ext cx="1565568" cy="1334082"/>
              </a:xfrm>
              <a:custGeom>
                <a:avLst/>
                <a:gdLst>
                  <a:gd name="T0" fmla="*/ 0 w 730"/>
                  <a:gd name="T1" fmla="*/ 188 h 622"/>
                  <a:gd name="T2" fmla="*/ 0 w 730"/>
                  <a:gd name="T3" fmla="*/ 622 h 622"/>
                  <a:gd name="T4" fmla="*/ 730 w 730"/>
                  <a:gd name="T5" fmla="*/ 270 h 622"/>
                  <a:gd name="T6" fmla="*/ 391 w 730"/>
                  <a:gd name="T7" fmla="*/ 0 h 622"/>
                  <a:gd name="T8" fmla="*/ 0 w 730"/>
                  <a:gd name="T9" fmla="*/ 188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0" y="188"/>
                    </a:moveTo>
                    <a:cubicBezTo>
                      <a:pt x="0" y="622"/>
                      <a:pt x="0" y="622"/>
                      <a:pt x="0" y="622"/>
                    </a:cubicBezTo>
                    <a:cubicBezTo>
                      <a:pt x="293" y="616"/>
                      <a:pt x="555" y="480"/>
                      <a:pt x="730" y="270"/>
                    </a:cubicBezTo>
                    <a:cubicBezTo>
                      <a:pt x="730" y="270"/>
                      <a:pt x="580" y="151"/>
                      <a:pt x="391" y="0"/>
                    </a:cubicBezTo>
                    <a:cubicBezTo>
                      <a:pt x="296" y="110"/>
                      <a:pt x="156" y="182"/>
                      <a:pt x="0" y="18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820C0D14-B205-53B1-AEAB-70D077580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6931" y="3697174"/>
                <a:ext cx="1157830" cy="1695037"/>
              </a:xfrm>
              <a:custGeom>
                <a:avLst/>
                <a:gdLst>
                  <a:gd name="T0" fmla="*/ 443 w 540"/>
                  <a:gd name="T1" fmla="*/ 96 h 790"/>
                  <a:gd name="T2" fmla="*/ 20 w 540"/>
                  <a:gd name="T3" fmla="*/ 0 h 790"/>
                  <a:gd name="T4" fmla="*/ 0 w 540"/>
                  <a:gd name="T5" fmla="*/ 197 h 790"/>
                  <a:gd name="T6" fmla="*/ 201 w 540"/>
                  <a:gd name="T7" fmla="*/ 790 h 790"/>
                  <a:gd name="T8" fmla="*/ 540 w 540"/>
                  <a:gd name="T9" fmla="*/ 519 h 790"/>
                  <a:gd name="T10" fmla="*/ 434 w 540"/>
                  <a:gd name="T11" fmla="*/ 197 h 790"/>
                  <a:gd name="T12" fmla="*/ 443 w 540"/>
                  <a:gd name="T13" fmla="*/ 96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443" y="96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7" y="63"/>
                      <a:pt x="0" y="129"/>
                      <a:pt x="0" y="197"/>
                    </a:cubicBezTo>
                    <a:cubicBezTo>
                      <a:pt x="0" y="420"/>
                      <a:pt x="75" y="625"/>
                      <a:pt x="201" y="790"/>
                    </a:cubicBezTo>
                    <a:cubicBezTo>
                      <a:pt x="201" y="790"/>
                      <a:pt x="351" y="670"/>
                      <a:pt x="540" y="519"/>
                    </a:cubicBezTo>
                    <a:cubicBezTo>
                      <a:pt x="473" y="429"/>
                      <a:pt x="434" y="318"/>
                      <a:pt x="434" y="197"/>
                    </a:cubicBezTo>
                    <a:cubicBezTo>
                      <a:pt x="434" y="163"/>
                      <a:pt x="437" y="129"/>
                      <a:pt x="443" y="9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5">
                <a:extLst>
                  <a:ext uri="{FF2B5EF4-FFF2-40B4-BE49-F238E27FC236}">
                    <a16:creationId xmlns:a16="http://schemas.microsoft.com/office/drawing/2014/main" id="{B8D39ADE-A157-E649-CB5E-33C5AD913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5158" y="2957126"/>
                <a:ext cx="930805" cy="661146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6">
                <a:extLst>
                  <a:ext uri="{FF2B5EF4-FFF2-40B4-BE49-F238E27FC236}">
                    <a16:creationId xmlns:a16="http://schemas.microsoft.com/office/drawing/2014/main" id="{202B361D-C90D-EFAB-5BD2-E29552A02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8339" y="4488916"/>
                <a:ext cx="839086" cy="793557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7">
                <a:extLst>
                  <a:ext uri="{FF2B5EF4-FFF2-40B4-BE49-F238E27FC236}">
                    <a16:creationId xmlns:a16="http://schemas.microsoft.com/office/drawing/2014/main" id="{8E9A8146-BD07-2E51-5056-3EE9F3E52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5876" y="3092257"/>
                <a:ext cx="851800" cy="867017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8">
                <a:extLst>
                  <a:ext uri="{FF2B5EF4-FFF2-40B4-BE49-F238E27FC236}">
                    <a16:creationId xmlns:a16="http://schemas.microsoft.com/office/drawing/2014/main" id="{593382C1-10A4-B5E8-1B1D-7DB8E172F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62536" y="3092257"/>
                <a:ext cx="851800" cy="867017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9">
                <a:extLst>
                  <a:ext uri="{FF2B5EF4-FFF2-40B4-BE49-F238E27FC236}">
                    <a16:creationId xmlns:a16="http://schemas.microsoft.com/office/drawing/2014/main" id="{6B1A5AD0-C2D9-C029-2F58-2D181C393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6892" y="3903045"/>
                <a:ext cx="716493" cy="907829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0">
                <a:extLst>
                  <a:ext uri="{FF2B5EF4-FFF2-40B4-BE49-F238E27FC236}">
                    <a16:creationId xmlns:a16="http://schemas.microsoft.com/office/drawing/2014/main" id="{933F91BD-0D9F-BBCF-7D7D-ABEBDE500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488916"/>
                <a:ext cx="838178" cy="793557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DE4B9FE2-131B-1570-AEC1-DA48DCB6C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35" y="3903045"/>
                <a:ext cx="716493" cy="907829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93641-5579-47E4-13E0-7E2D88BD5499}"/>
                </a:ext>
              </a:extLst>
            </p:cNvPr>
            <p:cNvGrpSpPr/>
            <p:nvPr/>
          </p:nvGrpSpPr>
          <p:grpSpPr>
            <a:xfrm>
              <a:off x="3699881" y="1928847"/>
              <a:ext cx="1744238" cy="1744010"/>
              <a:chOff x="3852281" y="2080907"/>
              <a:chExt cx="1744238" cy="1744010"/>
            </a:xfrm>
            <a:solidFill>
              <a:schemeClr val="tx2">
                <a:alpha val="40000"/>
              </a:schemeClr>
            </a:solidFill>
          </p:grpSpPr>
          <p:sp>
            <p:nvSpPr>
              <p:cNvPr id="8" name="Freeform 23">
                <a:extLst>
                  <a:ext uri="{FF2B5EF4-FFF2-40B4-BE49-F238E27FC236}">
                    <a16:creationId xmlns:a16="http://schemas.microsoft.com/office/drawing/2014/main" id="{3CF2B10B-4001-1A60-C614-DDA710AFD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348" y="2080907"/>
                <a:ext cx="698104" cy="495860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4">
                <a:extLst>
                  <a:ext uri="{FF2B5EF4-FFF2-40B4-BE49-F238E27FC236}">
                    <a16:creationId xmlns:a16="http://schemas.microsoft.com/office/drawing/2014/main" id="{378EABA9-6A63-6BE3-E79C-461DC8876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734" y="3229749"/>
                <a:ext cx="629315" cy="595168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25">
                <a:extLst>
                  <a:ext uri="{FF2B5EF4-FFF2-40B4-BE49-F238E27FC236}">
                    <a16:creationId xmlns:a16="http://schemas.microsoft.com/office/drawing/2014/main" id="{43581128-245E-C780-11AA-3945F468E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887" y="2182255"/>
                <a:ext cx="638850" cy="650263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26">
                <a:extLst>
                  <a:ext uri="{FF2B5EF4-FFF2-40B4-BE49-F238E27FC236}">
                    <a16:creationId xmlns:a16="http://schemas.microsoft.com/office/drawing/2014/main" id="{46D620CC-B3FA-59B3-B18B-328A26370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8382" y="2182255"/>
                <a:ext cx="638850" cy="650263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7">
                <a:extLst>
                  <a:ext uri="{FF2B5EF4-FFF2-40B4-BE49-F238E27FC236}">
                    <a16:creationId xmlns:a16="http://schemas.microsoft.com/office/drawing/2014/main" id="{96305806-A6E2-2F45-5409-4259A6266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149" y="2790346"/>
                <a:ext cx="537370" cy="680872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8">
                <a:extLst>
                  <a:ext uri="{FF2B5EF4-FFF2-40B4-BE49-F238E27FC236}">
                    <a16:creationId xmlns:a16="http://schemas.microsoft.com/office/drawing/2014/main" id="{F9C277CF-5563-0BFA-FF0A-E08C82858B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751" y="3229749"/>
                <a:ext cx="628634" cy="595168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">
                <a:extLst>
                  <a:ext uri="{FF2B5EF4-FFF2-40B4-BE49-F238E27FC236}">
                    <a16:creationId xmlns:a16="http://schemas.microsoft.com/office/drawing/2014/main" id="{043DEE27-91E3-055D-6F03-EF6021C16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281" y="2790346"/>
                <a:ext cx="537370" cy="680872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61E707D9-2975-79C9-6DDB-88D722B386BD}"/>
              </a:ext>
            </a:extLst>
          </p:cNvPr>
          <p:cNvSpPr/>
          <p:nvPr/>
        </p:nvSpPr>
        <p:spPr>
          <a:xfrm>
            <a:off x="433014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4B78182-4CE1-73E4-88C6-BC6A4B89D2E8}"/>
              </a:ext>
            </a:extLst>
          </p:cNvPr>
          <p:cNvSpPr/>
          <p:nvPr/>
        </p:nvSpPr>
        <p:spPr>
          <a:xfrm>
            <a:off x="433014" y="326374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7F4D618-C482-6E58-8973-FCBDD65ED04C}"/>
              </a:ext>
            </a:extLst>
          </p:cNvPr>
          <p:cNvSpPr/>
          <p:nvPr/>
        </p:nvSpPr>
        <p:spPr>
          <a:xfrm>
            <a:off x="433014" y="4962191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EE0914-3934-212C-2C86-6480C049CD5B}"/>
              </a:ext>
            </a:extLst>
          </p:cNvPr>
          <p:cNvSpPr/>
          <p:nvPr/>
        </p:nvSpPr>
        <p:spPr>
          <a:xfrm>
            <a:off x="8585958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14B928-CF52-C048-617F-0F473605E552}"/>
              </a:ext>
            </a:extLst>
          </p:cNvPr>
          <p:cNvSpPr/>
          <p:nvPr/>
        </p:nvSpPr>
        <p:spPr>
          <a:xfrm>
            <a:off x="8585958" y="26975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4AB198-5DE2-10EA-2470-29B2D25D6FAB}"/>
              </a:ext>
            </a:extLst>
          </p:cNvPr>
          <p:cNvSpPr/>
          <p:nvPr/>
        </p:nvSpPr>
        <p:spPr>
          <a:xfrm>
            <a:off x="8585958" y="3831593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D4EF014-FFA2-9CA9-C833-77A159639FA6}"/>
              </a:ext>
            </a:extLst>
          </p:cNvPr>
          <p:cNvSpPr/>
          <p:nvPr/>
        </p:nvSpPr>
        <p:spPr>
          <a:xfrm>
            <a:off x="8585958" y="4963890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96B1D2C-7AF9-425C-1FDB-49FB9489DD76}"/>
              </a:ext>
            </a:extLst>
          </p:cNvPr>
          <p:cNvGrpSpPr/>
          <p:nvPr/>
        </p:nvGrpSpPr>
        <p:grpSpPr>
          <a:xfrm>
            <a:off x="5009943" y="490056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37" name="Freeform 202">
              <a:extLst>
                <a:ext uri="{FF2B5EF4-FFF2-40B4-BE49-F238E27FC236}">
                  <a16:creationId xmlns:a16="http://schemas.microsoft.com/office/drawing/2014/main" id="{39E4F9BE-6846-7B6A-FC78-9143E3305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03">
              <a:extLst>
                <a:ext uri="{FF2B5EF4-FFF2-40B4-BE49-F238E27FC236}">
                  <a16:creationId xmlns:a16="http://schemas.microsoft.com/office/drawing/2014/main" id="{C5324383-74FA-D2E8-2C2E-902A6B4CC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04">
              <a:extLst>
                <a:ext uri="{FF2B5EF4-FFF2-40B4-BE49-F238E27FC236}">
                  <a16:creationId xmlns:a16="http://schemas.microsoft.com/office/drawing/2014/main" id="{1A675D7D-1A06-2BC1-6A46-4EBE10D18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05">
              <a:extLst>
                <a:ext uri="{FF2B5EF4-FFF2-40B4-BE49-F238E27FC236}">
                  <a16:creationId xmlns:a16="http://schemas.microsoft.com/office/drawing/2014/main" id="{5C4ABFAD-9DBE-E348-F314-CBFAF36FC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06">
              <a:extLst>
                <a:ext uri="{FF2B5EF4-FFF2-40B4-BE49-F238E27FC236}">
                  <a16:creationId xmlns:a16="http://schemas.microsoft.com/office/drawing/2014/main" id="{18A0BFFF-F332-2AF5-6CBA-55BF62270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07">
              <a:extLst>
                <a:ext uri="{FF2B5EF4-FFF2-40B4-BE49-F238E27FC236}">
                  <a16:creationId xmlns:a16="http://schemas.microsoft.com/office/drawing/2014/main" id="{BDB10F63-DC85-12D8-449D-5E960487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08">
              <a:extLst>
                <a:ext uri="{FF2B5EF4-FFF2-40B4-BE49-F238E27FC236}">
                  <a16:creationId xmlns:a16="http://schemas.microsoft.com/office/drawing/2014/main" id="{52497C6D-60C9-7A5E-B6DC-6781ED5D88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Rectangle 209">
              <a:extLst>
                <a:ext uri="{FF2B5EF4-FFF2-40B4-BE49-F238E27FC236}">
                  <a16:creationId xmlns:a16="http://schemas.microsoft.com/office/drawing/2014/main" id="{743639EC-15BD-DC48-9062-A2E218CCD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Rectangle 210">
              <a:extLst>
                <a:ext uri="{FF2B5EF4-FFF2-40B4-BE49-F238E27FC236}">
                  <a16:creationId xmlns:a16="http://schemas.microsoft.com/office/drawing/2014/main" id="{F903DC2F-EAE6-2A52-C1DB-D93122EEEC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Rectangle 211">
              <a:extLst>
                <a:ext uri="{FF2B5EF4-FFF2-40B4-BE49-F238E27FC236}">
                  <a16:creationId xmlns:a16="http://schemas.microsoft.com/office/drawing/2014/main" id="{4FF151CC-AA05-4C51-F891-575A1111A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Rectangle 212">
              <a:extLst>
                <a:ext uri="{FF2B5EF4-FFF2-40B4-BE49-F238E27FC236}">
                  <a16:creationId xmlns:a16="http://schemas.microsoft.com/office/drawing/2014/main" id="{15222AF2-B132-C37E-A176-619B6A5CF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Rectangle 213">
              <a:extLst>
                <a:ext uri="{FF2B5EF4-FFF2-40B4-BE49-F238E27FC236}">
                  <a16:creationId xmlns:a16="http://schemas.microsoft.com/office/drawing/2014/main" id="{3A498887-B788-F608-3527-7F3920E62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Rectangle 214">
              <a:extLst>
                <a:ext uri="{FF2B5EF4-FFF2-40B4-BE49-F238E27FC236}">
                  <a16:creationId xmlns:a16="http://schemas.microsoft.com/office/drawing/2014/main" id="{F9E35B91-43C2-E0BA-4017-3B9AC3E82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Rectangle 215">
              <a:extLst>
                <a:ext uri="{FF2B5EF4-FFF2-40B4-BE49-F238E27FC236}">
                  <a16:creationId xmlns:a16="http://schemas.microsoft.com/office/drawing/2014/main" id="{517B744C-E0CD-8EBA-6EC3-2E28DD06A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Rectangle 216">
              <a:extLst>
                <a:ext uri="{FF2B5EF4-FFF2-40B4-BE49-F238E27FC236}">
                  <a16:creationId xmlns:a16="http://schemas.microsoft.com/office/drawing/2014/main" id="{034EB08D-487A-96CA-B4B0-746BBDA8C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Rectangle 217">
              <a:extLst>
                <a:ext uri="{FF2B5EF4-FFF2-40B4-BE49-F238E27FC236}">
                  <a16:creationId xmlns:a16="http://schemas.microsoft.com/office/drawing/2014/main" id="{A93BC7C3-B2C9-2F08-8DE1-1B5BF9A0D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218">
              <a:extLst>
                <a:ext uri="{FF2B5EF4-FFF2-40B4-BE49-F238E27FC236}">
                  <a16:creationId xmlns:a16="http://schemas.microsoft.com/office/drawing/2014/main" id="{EE2992CA-469E-DEC4-91E5-8FFA38863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219">
              <a:extLst>
                <a:ext uri="{FF2B5EF4-FFF2-40B4-BE49-F238E27FC236}">
                  <a16:creationId xmlns:a16="http://schemas.microsoft.com/office/drawing/2014/main" id="{F0DF2CD2-FD5B-E57D-7F7C-176CE5F09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220">
              <a:extLst>
                <a:ext uri="{FF2B5EF4-FFF2-40B4-BE49-F238E27FC236}">
                  <a16:creationId xmlns:a16="http://schemas.microsoft.com/office/drawing/2014/main" id="{4EE8A9F5-CBCC-BE65-1C6D-B53794938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21">
              <a:extLst>
                <a:ext uri="{FF2B5EF4-FFF2-40B4-BE49-F238E27FC236}">
                  <a16:creationId xmlns:a16="http://schemas.microsoft.com/office/drawing/2014/main" id="{D478FB7F-3E5A-C39A-F2D5-A10071914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22">
              <a:extLst>
                <a:ext uri="{FF2B5EF4-FFF2-40B4-BE49-F238E27FC236}">
                  <a16:creationId xmlns:a16="http://schemas.microsoft.com/office/drawing/2014/main" id="{B7D74478-3876-7F97-4322-092C5DE1D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85520A1-D3FA-5967-19C1-98ACB76DD20D}"/>
              </a:ext>
            </a:extLst>
          </p:cNvPr>
          <p:cNvGrpSpPr/>
          <p:nvPr/>
        </p:nvGrpSpPr>
        <p:grpSpPr>
          <a:xfrm>
            <a:off x="5716383" y="1828228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59" name="Freeform 289">
              <a:extLst>
                <a:ext uri="{FF2B5EF4-FFF2-40B4-BE49-F238E27FC236}">
                  <a16:creationId xmlns:a16="http://schemas.microsoft.com/office/drawing/2014/main" id="{A6408145-D5ED-6594-E848-9439DB5E6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0">
              <a:extLst>
                <a:ext uri="{FF2B5EF4-FFF2-40B4-BE49-F238E27FC236}">
                  <a16:creationId xmlns:a16="http://schemas.microsoft.com/office/drawing/2014/main" id="{052A15BC-1166-24DB-9177-6350749B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1">
              <a:extLst>
                <a:ext uri="{FF2B5EF4-FFF2-40B4-BE49-F238E27FC236}">
                  <a16:creationId xmlns:a16="http://schemas.microsoft.com/office/drawing/2014/main" id="{5A872B43-2A13-6179-DC6D-D85483907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2">
              <a:extLst>
                <a:ext uri="{FF2B5EF4-FFF2-40B4-BE49-F238E27FC236}">
                  <a16:creationId xmlns:a16="http://schemas.microsoft.com/office/drawing/2014/main" id="{37D33F82-046D-14F1-8334-DB63E11AB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93">
              <a:extLst>
                <a:ext uri="{FF2B5EF4-FFF2-40B4-BE49-F238E27FC236}">
                  <a16:creationId xmlns:a16="http://schemas.microsoft.com/office/drawing/2014/main" id="{BFAA06BC-A4A6-3E1E-E8E7-915716B72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294">
              <a:extLst>
                <a:ext uri="{FF2B5EF4-FFF2-40B4-BE49-F238E27FC236}">
                  <a16:creationId xmlns:a16="http://schemas.microsoft.com/office/drawing/2014/main" id="{112C13F0-468C-5C15-9898-12B2B4E89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8D7D0AA-03FD-A4B3-5E9D-128294B120EF}"/>
              </a:ext>
            </a:extLst>
          </p:cNvPr>
          <p:cNvGrpSpPr/>
          <p:nvPr/>
        </p:nvGrpSpPr>
        <p:grpSpPr>
          <a:xfrm>
            <a:off x="7024510" y="2416812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66" name="Freeform 298">
              <a:extLst>
                <a:ext uri="{FF2B5EF4-FFF2-40B4-BE49-F238E27FC236}">
                  <a16:creationId xmlns:a16="http://schemas.microsoft.com/office/drawing/2014/main" id="{6FE28565-BB73-7B00-8118-327877187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99">
              <a:extLst>
                <a:ext uri="{FF2B5EF4-FFF2-40B4-BE49-F238E27FC236}">
                  <a16:creationId xmlns:a16="http://schemas.microsoft.com/office/drawing/2014/main" id="{06BC26C1-F759-B0F5-074E-82BF0F597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300">
              <a:extLst>
                <a:ext uri="{FF2B5EF4-FFF2-40B4-BE49-F238E27FC236}">
                  <a16:creationId xmlns:a16="http://schemas.microsoft.com/office/drawing/2014/main" id="{30725578-A9DB-7420-2E22-E19CF418E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01">
              <a:extLst>
                <a:ext uri="{FF2B5EF4-FFF2-40B4-BE49-F238E27FC236}">
                  <a16:creationId xmlns:a16="http://schemas.microsoft.com/office/drawing/2014/main" id="{D015AADD-3E51-AF62-66E4-54E0D02ADF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302">
              <a:extLst>
                <a:ext uri="{FF2B5EF4-FFF2-40B4-BE49-F238E27FC236}">
                  <a16:creationId xmlns:a16="http://schemas.microsoft.com/office/drawing/2014/main" id="{515802A7-FCB8-D7E4-0C31-B6E4EA078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Rectangle 303">
              <a:extLst>
                <a:ext uri="{FF2B5EF4-FFF2-40B4-BE49-F238E27FC236}">
                  <a16:creationId xmlns:a16="http://schemas.microsoft.com/office/drawing/2014/main" id="{42F47B51-FFCB-B349-8E3E-829133D1D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20372A8-87FE-4841-871B-A14A25D4CCE9}"/>
              </a:ext>
            </a:extLst>
          </p:cNvPr>
          <p:cNvGrpSpPr/>
          <p:nvPr/>
        </p:nvGrpSpPr>
        <p:grpSpPr>
          <a:xfrm>
            <a:off x="4194611" y="3899564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73" name="Freeform 348">
              <a:extLst>
                <a:ext uri="{FF2B5EF4-FFF2-40B4-BE49-F238E27FC236}">
                  <a16:creationId xmlns:a16="http://schemas.microsoft.com/office/drawing/2014/main" id="{48F2234F-7820-4D2D-F649-B45A73D5C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349">
              <a:extLst>
                <a:ext uri="{FF2B5EF4-FFF2-40B4-BE49-F238E27FC236}">
                  <a16:creationId xmlns:a16="http://schemas.microsoft.com/office/drawing/2014/main" id="{BB460AA4-5EEA-C00F-364C-5F12BC0A1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350">
              <a:extLst>
                <a:ext uri="{FF2B5EF4-FFF2-40B4-BE49-F238E27FC236}">
                  <a16:creationId xmlns:a16="http://schemas.microsoft.com/office/drawing/2014/main" id="{9198A4C1-1B5F-E882-1838-B683CE7AB8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351">
              <a:extLst>
                <a:ext uri="{FF2B5EF4-FFF2-40B4-BE49-F238E27FC236}">
                  <a16:creationId xmlns:a16="http://schemas.microsoft.com/office/drawing/2014/main" id="{6A11854E-724B-12C8-9EA0-3F21A25EC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352">
              <a:extLst>
                <a:ext uri="{FF2B5EF4-FFF2-40B4-BE49-F238E27FC236}">
                  <a16:creationId xmlns:a16="http://schemas.microsoft.com/office/drawing/2014/main" id="{BDAD892F-84D5-674D-A4D1-61A139A1ED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353">
              <a:extLst>
                <a:ext uri="{FF2B5EF4-FFF2-40B4-BE49-F238E27FC236}">
                  <a16:creationId xmlns:a16="http://schemas.microsoft.com/office/drawing/2014/main" id="{19EC4990-BCF7-76C5-9705-42A695AA3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354">
              <a:extLst>
                <a:ext uri="{FF2B5EF4-FFF2-40B4-BE49-F238E27FC236}">
                  <a16:creationId xmlns:a16="http://schemas.microsoft.com/office/drawing/2014/main" id="{D2B3C7B9-D88C-AC41-5EAA-C04DFDC88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Rectangle 355">
              <a:extLst>
                <a:ext uri="{FF2B5EF4-FFF2-40B4-BE49-F238E27FC236}">
                  <a16:creationId xmlns:a16="http://schemas.microsoft.com/office/drawing/2014/main" id="{2443A9E2-27CC-BEA7-1DB9-8F95B20F7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Rectangle 356">
              <a:extLst>
                <a:ext uri="{FF2B5EF4-FFF2-40B4-BE49-F238E27FC236}">
                  <a16:creationId xmlns:a16="http://schemas.microsoft.com/office/drawing/2014/main" id="{65C03E88-23A7-EF10-0CA1-3DB0C778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9BE00AA-9011-7C78-BF0D-678B594639AB}"/>
              </a:ext>
            </a:extLst>
          </p:cNvPr>
          <p:cNvGrpSpPr/>
          <p:nvPr/>
        </p:nvGrpSpPr>
        <p:grpSpPr>
          <a:xfrm>
            <a:off x="6504133" y="4971945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D12BFE5E-8011-93F0-7FEB-E3EDBB29B2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Rectangle 7">
              <a:extLst>
                <a:ext uri="{FF2B5EF4-FFF2-40B4-BE49-F238E27FC236}">
                  <a16:creationId xmlns:a16="http://schemas.microsoft.com/office/drawing/2014/main" id="{37418C97-5F11-DC42-3798-A7451E993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483D14BE-7A15-2200-AAF8-6E0EA069C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EE30B33-1425-F926-B451-4BDBCAEA9A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109C383E-C5ED-943A-1A38-40801BCF0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Rectangle 11">
              <a:extLst>
                <a:ext uri="{FF2B5EF4-FFF2-40B4-BE49-F238E27FC236}">
                  <a16:creationId xmlns:a16="http://schemas.microsoft.com/office/drawing/2014/main" id="{8F4B4ED8-6734-9B3A-06FE-F60D12FF0A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Rectangle 12">
              <a:extLst>
                <a:ext uri="{FF2B5EF4-FFF2-40B4-BE49-F238E27FC236}">
                  <a16:creationId xmlns:a16="http://schemas.microsoft.com/office/drawing/2014/main" id="{37ED1AF0-60E0-1019-46F7-77C38398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Rectangle 13">
              <a:extLst>
                <a:ext uri="{FF2B5EF4-FFF2-40B4-BE49-F238E27FC236}">
                  <a16:creationId xmlns:a16="http://schemas.microsoft.com/office/drawing/2014/main" id="{C30B5389-927E-FFDE-1D1A-1000E817C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Rectangle 14">
              <a:extLst>
                <a:ext uri="{FF2B5EF4-FFF2-40B4-BE49-F238E27FC236}">
                  <a16:creationId xmlns:a16="http://schemas.microsoft.com/office/drawing/2014/main" id="{A3510920-B4ED-1C61-1E4A-3BE8D740A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50D0A5CE-2212-492B-B290-DC547DF35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D6E6ACEB-774E-B5BF-42EB-0E858585D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CB06BBEE-5172-47E4-CBBC-B5E3A4E8C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38AD1F97-B05D-5F30-1FA5-E034EB24C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2F7F2F6B-0322-FF6C-C132-2C2F6CB1E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1951EF8D-4EE0-D3F2-91C6-3A7885958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76A65A60-24F4-A028-3395-180618C23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BA6936B-C3DA-1467-BF06-1036DA887F75}"/>
              </a:ext>
            </a:extLst>
          </p:cNvPr>
          <p:cNvGrpSpPr/>
          <p:nvPr/>
        </p:nvGrpSpPr>
        <p:grpSpPr>
          <a:xfrm>
            <a:off x="4375463" y="2562889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4645ED2A-DB5E-714A-67D9-73B055920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D8099115-461C-0DA4-F355-06D3974EA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111DC5A3-AF96-A7D4-F566-6A4AF15EC4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A8C5D79C-AD8B-9D30-2FC3-7BF9F5EA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FF8A2C3-180C-6430-1CEE-FFBAEDA87E9F}"/>
              </a:ext>
            </a:extLst>
          </p:cNvPr>
          <p:cNvGrpSpPr/>
          <p:nvPr/>
        </p:nvGrpSpPr>
        <p:grpSpPr>
          <a:xfrm>
            <a:off x="7382020" y="3790472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23F6D7F-2181-544B-169B-DB46164A29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699A513C-0072-1B58-26B5-52DC20F889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38211547-30ED-23A9-AD88-C9A8953E3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Rectangle 39">
              <a:extLst>
                <a:ext uri="{FF2B5EF4-FFF2-40B4-BE49-F238E27FC236}">
                  <a16:creationId xmlns:a16="http://schemas.microsoft.com/office/drawing/2014/main" id="{9FB937C6-3A8E-AD98-0726-665DA9531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8E09BD50-2C48-17D3-8A6F-8622F8007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Rectangle 41">
              <a:extLst>
                <a:ext uri="{FF2B5EF4-FFF2-40B4-BE49-F238E27FC236}">
                  <a16:creationId xmlns:a16="http://schemas.microsoft.com/office/drawing/2014/main" id="{7BCC4C43-6A06-A9F8-DF8A-E6E645F15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Rectangle 42">
              <a:extLst>
                <a:ext uri="{FF2B5EF4-FFF2-40B4-BE49-F238E27FC236}">
                  <a16:creationId xmlns:a16="http://schemas.microsoft.com/office/drawing/2014/main" id="{F8DCBAE1-C1C1-A3FE-1C06-C98652C41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Rectangle 43">
              <a:extLst>
                <a:ext uri="{FF2B5EF4-FFF2-40B4-BE49-F238E27FC236}">
                  <a16:creationId xmlns:a16="http://schemas.microsoft.com/office/drawing/2014/main" id="{01DDC3AB-3D95-6574-DBB6-EE0CD79A9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3FDBD202-1B3C-1F8A-C5DE-13EEB2E69D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DFE41F46-4354-A6A3-119B-BBA05F0A2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5265E204-E27C-532A-A8BC-ACD68DBEF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Rectangle 47">
              <a:extLst>
                <a:ext uri="{FF2B5EF4-FFF2-40B4-BE49-F238E27FC236}">
                  <a16:creationId xmlns:a16="http://schemas.microsoft.com/office/drawing/2014/main" id="{562B177D-6D96-23FD-248D-AA8DB5F68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Rectangle 48">
              <a:extLst>
                <a:ext uri="{FF2B5EF4-FFF2-40B4-BE49-F238E27FC236}">
                  <a16:creationId xmlns:a16="http://schemas.microsoft.com/office/drawing/2014/main" id="{B4BBBBC4-8030-2B84-B7D3-7BA816F61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Rectangle 49">
              <a:extLst>
                <a:ext uri="{FF2B5EF4-FFF2-40B4-BE49-F238E27FC236}">
                  <a16:creationId xmlns:a16="http://schemas.microsoft.com/office/drawing/2014/main" id="{749FD499-7014-2055-B1A0-EB7105EE5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Rectangle 50">
              <a:extLst>
                <a:ext uri="{FF2B5EF4-FFF2-40B4-BE49-F238E27FC236}">
                  <a16:creationId xmlns:a16="http://schemas.microsoft.com/office/drawing/2014/main" id="{2E3136BF-1460-DABF-BB3B-B7A48C10B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710039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7</TotalTime>
  <Words>138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95</cp:revision>
  <dcterms:created xsi:type="dcterms:W3CDTF">2021-03-31T02:49:57Z</dcterms:created>
  <dcterms:modified xsi:type="dcterms:W3CDTF">2025-10-15T03:19:11Z</dcterms:modified>
  <cp:category/>
</cp:coreProperties>
</file>